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6"/>
    <p:sldMasterId id="2147483673" r:id="rId7"/>
    <p:sldMasterId id="2147483676" r:id="rId8"/>
    <p:sldMasterId id="2147483678" r:id="rId9"/>
    <p:sldMasterId id="2147483680" r:id="rId10"/>
    <p:sldMasterId id="2147483703" r:id="rId11"/>
  </p:sldMasterIdLst>
  <p:notesMasterIdLst>
    <p:notesMasterId r:id="rId21"/>
  </p:notesMasterIdLst>
  <p:handoutMasterIdLst>
    <p:handoutMasterId r:id="rId22"/>
  </p:handoutMasterIdLst>
  <p:sldIdLst>
    <p:sldId id="258" r:id="rId12"/>
    <p:sldId id="141168980" r:id="rId13"/>
    <p:sldId id="141168986" r:id="rId14"/>
    <p:sldId id="141168981" r:id="rId15"/>
    <p:sldId id="141168983" r:id="rId16"/>
    <p:sldId id="141168982" r:id="rId17"/>
    <p:sldId id="141168984" r:id="rId18"/>
    <p:sldId id="141168985" r:id="rId19"/>
    <p:sldId id="265" r:id="rId2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wadzki, Marcin (Nokia - PL/Wroclaw)" initials="ZP" lastIdx="1" clrIdx="0">
    <p:extLst>
      <p:ext uri="{19B8F6BF-5375-455C-9EA6-DF929625EA0E}">
        <p15:presenceInfo xmlns:p15="http://schemas.microsoft.com/office/powerpoint/2012/main" userId="S::marcin.zawadzki@nokia.com::a2601fe9-4c02-4885-b11f-effa1bb4903f" providerId="AD"/>
      </p:ext>
    </p:extLst>
  </p:cmAuthor>
  <p:cmAuthor id="2" name="Rungo, Karol (Nokia - PL/Wroclaw)" initials="RK(-P" lastIdx="1" clrIdx="1">
    <p:extLst>
      <p:ext uri="{19B8F6BF-5375-455C-9EA6-DF929625EA0E}">
        <p15:presenceInfo xmlns:p15="http://schemas.microsoft.com/office/powerpoint/2012/main" userId="S::karol.rungo@nokia.com::190ed208-c013-406f-beb6-8a495b76ae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796" autoAdjust="0"/>
  </p:normalViewPr>
  <p:slideViewPr>
    <p:cSldViewPr snapToGrid="0">
      <p:cViewPr varScale="1">
        <p:scale>
          <a:sx n="132" d="100"/>
          <a:sy n="132" d="100"/>
        </p:scale>
        <p:origin x="10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3" d="100"/>
          <a:sy n="63" d="100"/>
        </p:scale>
        <p:origin x="2442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19935B-724B-4486-9AEA-118230F9183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B1D270-5194-409C-95DF-A4755BF289F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C551C-4C79-4EEF-93BE-C124FC878051}" type="datetimeFigureOut">
              <a:rPr lang="pl-PL" smtClean="0"/>
              <a:t>24.05.2020</a:t>
            </a:fld>
            <a:endParaRPr lang="pl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AD4861-C42C-4458-A0A8-42848AA634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EC9D08-18DA-45D4-9708-4AAF1C3B7BA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5204CF-029E-499E-85EA-972BDF37F55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20131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F03831C-DEBA-4A3A-8C36-FD8115E217DA}" type="datetimeFigureOut">
              <a:rPr lang="en-US" smtClean="0"/>
              <a:pPr/>
              <a:t>5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8D4EF5B-ECC8-43EE-A509-D601DDF42A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6.png"/><Relationship Id="rId4" Type="http://schemas.openxmlformats.org/officeDocument/2006/relationships/tags" Target="../tags/tag23.xml"/><Relationship Id="rId9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4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6.png"/><Relationship Id="rId5" Type="http://schemas.openxmlformats.org/officeDocument/2006/relationships/tags" Target="../tags/tag36.xml"/><Relationship Id="rId10" Type="http://schemas.openxmlformats.org/officeDocument/2006/relationships/image" Target="../media/image5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image" Target="../media/image6.png"/><Relationship Id="rId5" Type="http://schemas.openxmlformats.org/officeDocument/2006/relationships/tags" Target="../tags/tag42.xml"/><Relationship Id="rId10" Type="http://schemas.openxmlformats.org/officeDocument/2006/relationships/image" Target="../media/image5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image" Target="../media/image6.png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5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4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6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4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6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7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6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2.xml"/><Relationship Id="rId11" Type="http://schemas.openxmlformats.org/officeDocument/2006/relationships/image" Target="../media/image6.png"/><Relationship Id="rId5" Type="http://schemas.openxmlformats.org/officeDocument/2006/relationships/tags" Target="../tags/tag101.xml"/><Relationship Id="rId10" Type="http://schemas.openxmlformats.org/officeDocument/2006/relationships/image" Target="../media/image5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41332EC-6B80-4828-AE81-B63F414EEB6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A079B4-2296-4AF6-9A4A-00A11E579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154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_Three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B478DF6-0668-488C-9E0C-4567E0DE8F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C091DE-89A6-4271-8BB9-BAB40C67B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1772D9-E08D-420E-AB34-CCAC26D77F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D23F99-89E3-4290-B5FE-D72F99F36E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495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_Three Column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D0874136-2C1C-4222-98DA-D238FBD9743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17312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2" name="Table Placeholder 2">
            <a:extLst>
              <a:ext uri="{FF2B5EF4-FFF2-40B4-BE49-F238E27FC236}">
                <a16:creationId xmlns:a16="http://schemas.microsoft.com/office/drawing/2014/main" id="{B9EA6A3E-9087-42C1-89A6-8204E100E36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32423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98BD97D8-C9D8-4E9B-90F2-C010D6EE811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273879" y="1080000"/>
            <a:ext cx="25920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C81E09-B357-4439-BD31-02945978E3D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790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_Four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9C1B709-09CD-404B-B852-419096D068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9B7F28-94B8-42B4-A97D-4EBCB20F67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AB4DD6D-9400-4306-8B75-2CFF920828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D6FBD4C-557B-402F-9039-EF287BD8EA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EF9DDB-0B87-42B5-98DF-391316BABF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931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E85245-6EF4-4401-89A5-4E7398F482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354AD9-06FB-4C15-A48D-5001BBC6FF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CB4E99-5D9B-49EB-A80D-C2366451A6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186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Blue Text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6E85245-6EF4-4401-89A5-4E7398F482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00" y="36000"/>
            <a:ext cx="1599250" cy="673200"/>
          </a:xfrm>
          <a:prstGeom prst="rect">
            <a:avLst/>
          </a:prstGeom>
        </p:spPr>
      </p:pic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252EEB5-B067-4FF5-9D6E-45AD77249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9673B1-D3FB-43B2-8D91-D053CDDCAFB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961597-1BB1-4AC0-81C4-ECF117F5AF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690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Blue 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4DFDF-6038-42CF-9F88-F60BDA6A7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9979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4DFDF-6038-42CF-9F88-F60BDA6A7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941910" y="4601856"/>
            <a:ext cx="5714999" cy="273844"/>
          </a:xfrm>
          <a:prstGeom prst="rect">
            <a:avLst/>
          </a:prstGeom>
        </p:spPr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1074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</a:t>
            </a:r>
          </a:p>
        </p:txBody>
      </p:sp>
    </p:spTree>
    <p:extLst>
      <p:ext uri="{BB962C8B-B14F-4D97-AF65-F5344CB8AC3E}">
        <p14:creationId xmlns:p14="http://schemas.microsoft.com/office/powerpoint/2010/main" val="2442118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6_Two Colum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48EFACD-CEB2-4692-815C-86D19FBB4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BCB907-9E7B-4CB2-B9DE-4FC3076D2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4DFDF-6038-42CF-9F88-F60BDA6A7F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197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Gray Text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252EEB5-B067-4FF5-9D6E-45AD77249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2E6FA3-ED47-4E0C-B044-550E170D1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496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Gray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86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_Gray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799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24E133-AF05-4EA9-B8C1-517DA46C9D2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475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3892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59DF61-7E94-4ED6-8DB6-014DB01F79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4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3956" y="873863"/>
            <a:ext cx="8237126" cy="76174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95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2690F-B6E3-4492-B52D-C9C4AFF4B3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413956" y="214476"/>
            <a:ext cx="1118501" cy="20462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3099" y="2668251"/>
            <a:ext cx="8237126" cy="1846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3955" y="2440471"/>
            <a:ext cx="8237126" cy="1846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2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8994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91776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013E9186-0D3C-410E-A9DB-E35E91C022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80212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D626B2A7-CBE8-4C82-9D35-8C595BBD8C2B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51830"/>
            <a:ext cx="8311896" cy="3000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721AC8-1336-41A1-BF53-CA18D4B11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82E0DE-A33B-4E76-9D7C-60ADA2A27CBD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14597555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4019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992AA4-DCB8-41CE-A6B9-288772438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3"/>
            <a:ext cx="2859786" cy="600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F90E6CF-510F-451A-8925-AAEBB7AE042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7245FD-7284-4CB4-B1B3-E413D166D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946F5738-D999-4B29-98DD-153D849B8A1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245F98-B62F-4D08-A968-A03DF0816F2A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31938524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58888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002E2A-047F-4D2A-B353-935833AF19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560208"/>
            <a:ext cx="3799332" cy="3000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FE25F8A-9228-4348-A8D7-0CBB2ACEA1A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549140-EF94-4032-93BE-5333CA400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73B121A8-AA11-4E55-90C4-A59BB41846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E35D63-01FB-4083-9B5C-4055BD98AB88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20611812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13844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B9F6E0-2DB8-482A-ABFB-4A5E68ED0C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643099"/>
            <a:ext cx="8311896" cy="300083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4B82ADE-EC5A-4BCE-BBA9-53E4175F052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426C68-D050-40DD-869B-0C2CB5DEF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5109AEC-98DE-4D51-96E8-AF0298C5CAA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AC6BE2-0B03-4F80-9039-046BC7AD1F84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36249057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0996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75C1B4-A25A-4DFA-84C4-9265FCB468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10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736422"/>
            <a:ext cx="6885432" cy="32316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7980A66-8F63-4CF2-BAB9-B149626878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F5294E-EE5B-4AA8-99D6-35AD41CD51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B4A77DEF-C187-4B98-9AE1-D661B8DD0FF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49163D-AC42-4DED-9E50-73E6D0485B1A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40579201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731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A3A509-EBB7-4EAB-B4F2-3BB6B2B0E2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35194"/>
            <a:ext cx="1885950" cy="600164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B3C93C8-7FBF-48EC-BB31-01C7B14D2F7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6051" y="4791770"/>
            <a:ext cx="1885950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A98709-A066-4129-A64A-7343071523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03F1904B-B06E-44F7-9543-B620ADB8736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9D6BF-395C-47CC-B6AE-B9F396EDB8CC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2120026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&lt;Document ID: change ID in footer or remove&gt;</a:t>
            </a:r>
          </a:p>
        </p:txBody>
      </p:sp>
    </p:spTree>
    <p:extLst>
      <p:ext uri="{BB962C8B-B14F-4D97-AF65-F5344CB8AC3E}">
        <p14:creationId xmlns:p14="http://schemas.microsoft.com/office/powerpoint/2010/main" val="30433079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6320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ABD859-5E0A-4DBE-B24B-314B9D3283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35194"/>
            <a:ext cx="2599182" cy="6001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ACE11954-0143-4D8E-845D-B31004149A1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6052" y="4791770"/>
            <a:ext cx="259918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6104AD-875F-4E4B-AE0F-85B0CCB33C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5DD3BDA6-B953-4E23-9000-E1E58AFA59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BF4E12-F5FC-470D-9272-EE15C903D5AE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12947789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94339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2C93DA-9111-4487-B18B-1470CF48E73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51830"/>
            <a:ext cx="3799332" cy="30008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5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480212"/>
            <a:ext cx="379933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6714583-E505-4518-93BD-3CABFB0C377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6051" y="4791770"/>
            <a:ext cx="3799332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5771B8-E84F-4B9A-99FA-B9AC0D1F4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CB25E710-8A35-42C5-AEEF-2F0D47D4234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EC5158-832E-499C-B91F-CFDEEC6312B4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25139825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24942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BF349F-3551-435A-B0BB-6BDC5FD6DC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51830"/>
            <a:ext cx="5225796" cy="30008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480212"/>
            <a:ext cx="5225796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D7AAB4F-7055-4A8B-9FCF-4A7D2DFB369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6051" y="4791770"/>
            <a:ext cx="52257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2EC745D-DA4D-4BB7-8377-F455D49792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A529E707-8E0C-4B14-B896-0FA3434284C8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AA8006-54E1-4F9C-A885-A138ECE26F32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14005300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3475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6AE14C-B8A1-4DA8-874F-2A147F9589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51830"/>
            <a:ext cx="5939028" cy="30008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480212"/>
            <a:ext cx="59390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11496A88-D3F9-4689-8792-1936CEFAF94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6051" y="4791770"/>
            <a:ext cx="5939028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D5DC52-0B12-4266-B3C4-4ABD3AD12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C96848D9-0844-45AA-BD39-DC12903FD7B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38012B-417F-49F3-99F1-E85AA7B96E46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16363176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610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6816BD2-9824-424A-BD0C-CD1A18C6B4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51830"/>
            <a:ext cx="8311896" cy="30008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497FCB2F-E271-427D-80CF-6712B9D1C63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66A259-54CD-42B4-82C4-5D89470B11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2CD2D88E-939A-4DFB-9CCA-CABF5B6CDA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EB1B4B-1C1F-439A-808B-A1F92BAF0FAA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22253842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84979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94237615-6A6C-40B7-9124-2E45596850E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888861-F03F-4555-9348-6EF42C2C90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9" t="34837" r="15209" b="34836"/>
          <a:stretch/>
        </p:blipFill>
        <p:spPr>
          <a:xfrm>
            <a:off x="8058874" y="4900776"/>
            <a:ext cx="669074" cy="122404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93EF6ABE-1101-4ABB-B28E-C033AB43DB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416052" y="4910040"/>
            <a:ext cx="91372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573D4A-C1E0-4071-B79A-179F73AFCBDE}"/>
              </a:ext>
            </a:extLst>
          </p:cNvPr>
          <p:cNvSpPr txBox="1"/>
          <p:nvPr userDrawn="1"/>
        </p:nvSpPr>
        <p:spPr>
          <a:xfrm>
            <a:off x="649128" y="4910040"/>
            <a:ext cx="532197" cy="103875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r>
              <a:rPr lang="en-US" sz="675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</p:spTree>
    <p:extLst>
      <p:ext uri="{BB962C8B-B14F-4D97-AF65-F5344CB8AC3E}">
        <p14:creationId xmlns:p14="http://schemas.microsoft.com/office/powerpoint/2010/main" val="35475446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6155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A880AF90-1F4E-4F76-BBD7-188A278B886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791770"/>
            <a:ext cx="7137274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85CD7D-AA6A-4474-AEF2-0F4D1AD2E71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011" y="1894872"/>
            <a:ext cx="3215980" cy="1353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0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6528516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5DDEE8-FF3C-4742-BB8C-B09BB2526A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524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415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_Single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SmartArt graphi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46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_Two Column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C469832-DACB-40B0-988E-5D708FA937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able Placeholder 4">
            <a:extLst>
              <a:ext uri="{FF2B5EF4-FFF2-40B4-BE49-F238E27FC236}">
                <a16:creationId xmlns:a16="http://schemas.microsoft.com/office/drawing/2014/main" id="{B3F0CABE-2F16-456A-A120-390FEDFE43A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8BA92-8F61-4F9A-B36F-9769D72C71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35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24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6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© 2018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Arial" panose="020B0604020202020204" pitchFamily="34" charset="0"/>
              <a:ea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0" name="Footer Placeholder 14">
            <a:extLst>
              <a:ext uri="{FF2B5EF4-FFF2-40B4-BE49-F238E27FC236}">
                <a16:creationId xmlns:a16="http://schemas.microsoft.com/office/drawing/2014/main" id="{959404B3-BB5C-4406-BA99-EBCEE35F8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936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3" r:id="rId2"/>
    <p:sldLayoutId id="2147483734" r:id="rId3"/>
    <p:sldLayoutId id="2147483663" r:id="rId4"/>
    <p:sldLayoutId id="2147483685" r:id="rId5"/>
    <p:sldLayoutId id="2147483686" r:id="rId6"/>
    <p:sldLayoutId id="2147483664" r:id="rId7"/>
    <p:sldLayoutId id="2147483665" r:id="rId8"/>
    <p:sldLayoutId id="2147483667" r:id="rId9"/>
    <p:sldLayoutId id="2147483668" r:id="rId10"/>
    <p:sldLayoutId id="2147483669" r:id="rId11"/>
    <p:sldLayoutId id="214748367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© 2018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Arial" panose="020B0604020202020204" pitchFamily="34" charset="0"/>
              <a:ea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EA08E70-E40A-4C76-ADD7-CA63C9574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352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76398D-C6B9-4EAD-A887-41ECEA7F30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180" y="2031750"/>
            <a:ext cx="256564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516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0388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35" r:id="rId2"/>
    <p:sldLayoutId id="2147483754" r:id="rId3"/>
    <p:sldLayoutId id="214748375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5D8FD1-98D9-47C9-885D-370F1B25E0D7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© 2018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45D477-1173-4B46-833F-F999BFE938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Arial" panose="020B0604020202020204" pitchFamily="34" charset="0"/>
              <a:ea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E74C75-1C44-4A6F-9F21-72B5E3ACC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</a:lstStyle>
          <a:p>
            <a:r>
              <a:rPr lang="en-GB"/>
              <a:t>&lt;Document ID: change ID in footer or remove&gt;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38F1B2-3B70-46D3-B6FC-0199A17FB7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5813" y="4648933"/>
            <a:ext cx="100915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8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600708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5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>
            <a:extLst>
              <a:ext uri="{FF2B5EF4-FFF2-40B4-BE49-F238E27FC236}">
                <a16:creationId xmlns:a16="http://schemas.microsoft.com/office/drawing/2014/main" id="{0CE888F9-78DB-4BE1-9323-92D98AAEE2D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50" b="0" i="0" baseline="0" err="1">
              <a:solidFill>
                <a:schemeClr val="bg1"/>
              </a:solidFill>
              <a:latin typeface="Nokia Pure Headline Light" panose="020B0304040602060303" pitchFamily="34" charset="0"/>
              <a:ea typeface="+mj-ea"/>
              <a:cs typeface="+mj-cs"/>
              <a:sym typeface="Nokia Pure Headline Light" panose="020B0304040602060303" pitchFamily="34" charset="0"/>
            </a:endParaRPr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824080"/>
            <a:ext cx="261290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sz="6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416051" y="1628775"/>
            <a:ext cx="2362868" cy="40395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/>
              <a:t>Above Chart Exhibit Title</a:t>
            </a:r>
          </a:p>
          <a:p>
            <a:pPr lvl="0"/>
            <a:r>
              <a:rPr lang="en-US" sz="120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1" y="2128163"/>
            <a:ext cx="2362868" cy="10387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33E5393-E791-414A-80FA-1CD1A4A61FC8}"/>
              </a:ext>
            </a:extLst>
          </p:cNvPr>
          <p:cNvGrpSpPr/>
          <p:nvPr userDrawn="1"/>
        </p:nvGrpSpPr>
        <p:grpSpPr>
          <a:xfrm>
            <a:off x="7737976" y="2362665"/>
            <a:ext cx="959513" cy="718715"/>
            <a:chOff x="10162879" y="3243771"/>
            <a:chExt cx="1279351" cy="958287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286472B7-7DB2-4796-A3DD-187F12904AE3}"/>
                </a:ext>
              </a:extLst>
            </p:cNvPr>
            <p:cNvSpPr txBox="1"/>
            <p:nvPr/>
          </p:nvSpPr>
          <p:spPr>
            <a:xfrm>
              <a:off x="10886522" y="3243771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44D0987-A577-4AEF-9156-B615BFB123E9}"/>
                </a:ext>
              </a:extLst>
            </p:cNvPr>
            <p:cNvSpPr txBox="1"/>
            <p:nvPr/>
          </p:nvSpPr>
          <p:spPr>
            <a:xfrm>
              <a:off x="10886522" y="3615192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D4525A7-B3E2-4977-B61C-522BD492DAAA}"/>
                </a:ext>
              </a:extLst>
            </p:cNvPr>
            <p:cNvSpPr txBox="1"/>
            <p:nvPr/>
          </p:nvSpPr>
          <p:spPr>
            <a:xfrm>
              <a:off x="10886522" y="3986614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92B1B594-DB9D-4B66-B0A6-37B685A5A9C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2F94EE1-0013-469F-B915-9E43B96133F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9547E15-6FAF-4A25-841A-757303063DC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0E89655-7E74-4E92-961F-5D74D945EA67}"/>
              </a:ext>
            </a:extLst>
          </p:cNvPr>
          <p:cNvGrpSpPr/>
          <p:nvPr userDrawn="1"/>
        </p:nvGrpSpPr>
        <p:grpSpPr>
          <a:xfrm>
            <a:off x="8016234" y="859030"/>
            <a:ext cx="681255" cy="1298894"/>
            <a:chOff x="7723680" y="1702457"/>
            <a:chExt cx="908340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4433675F-A576-44E6-A577-1FE2BC5A84E1}"/>
                </a:ext>
              </a:extLst>
            </p:cNvPr>
            <p:cNvSpPr txBox="1"/>
            <p:nvPr/>
          </p:nvSpPr>
          <p:spPr>
            <a:xfrm>
              <a:off x="8076312" y="1709816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D74D623A-2EF2-4F41-BE87-30EFEB63F08F}"/>
                </a:ext>
              </a:extLst>
            </p:cNvPr>
            <p:cNvSpPr txBox="1"/>
            <p:nvPr/>
          </p:nvSpPr>
          <p:spPr>
            <a:xfrm>
              <a:off x="8076312" y="2085274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D526059-5E45-4218-8409-B540228ED501}"/>
                </a:ext>
              </a:extLst>
            </p:cNvPr>
            <p:cNvSpPr txBox="1"/>
            <p:nvPr/>
          </p:nvSpPr>
          <p:spPr>
            <a:xfrm>
              <a:off x="8076312" y="2460733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CBAEF0CB-5C4D-4BB9-B126-D4B834CAB40B}"/>
                </a:ext>
              </a:extLst>
            </p:cNvPr>
            <p:cNvSpPr txBox="1"/>
            <p:nvPr/>
          </p:nvSpPr>
          <p:spPr>
            <a:xfrm>
              <a:off x="8076312" y="2836192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FAF41-86EC-45B2-A89F-D48F8938E53B}"/>
                </a:ext>
              </a:extLst>
            </p:cNvPr>
            <p:cNvSpPr txBox="1"/>
            <p:nvPr/>
          </p:nvSpPr>
          <p:spPr>
            <a:xfrm>
              <a:off x="8076312" y="3211653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EAD52337-E2F7-4D28-B67C-95CE04206185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330CC07C-5B4A-41B2-AFF3-387A43A762A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F04CBAA-FFCD-4EEC-AC4A-B1A07D959E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0A4AD4FD-E3DD-499E-AC3F-9D2AA81A4FB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F3848DAA-CDB5-4EFF-A757-19DF3F588C6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D195775-07AE-4D27-B67C-905CAE11A71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9BA9FF7-E8E9-49D2-A9A6-DFEF72A1959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2A13E5E-CD28-458A-A995-3DB7C0C34A9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CB770B7-B0AF-411A-9C3E-2720A10F8D3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C15197C-4409-4F4E-BB22-E133403EB88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9915108-0841-47B6-9F96-A50BEACEF87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6F90EFF7-ADA4-4495-A154-7EE78684139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52E437EC-D47A-4DEC-B52D-D1CF5F310F2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80B3E66-B9B7-4931-B7D2-85534E94F8FC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CEF1790A-756D-421A-AE52-697610FDAC6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03BC90B-2E7F-4CEA-95C3-76FD597CE951}"/>
              </a:ext>
            </a:extLst>
          </p:cNvPr>
          <p:cNvGrpSpPr/>
          <p:nvPr userDrawn="1"/>
        </p:nvGrpSpPr>
        <p:grpSpPr>
          <a:xfrm>
            <a:off x="8036090" y="3286124"/>
            <a:ext cx="661390" cy="1287961"/>
            <a:chOff x="10652400" y="4322823"/>
            <a:chExt cx="88185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36BA1DD6-A291-45C2-9B7E-66252267B8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0EE9BD0-038E-47E5-A902-AE6E476A3AC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E634366D-DA3A-42D8-9159-3BB246488CE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81D6B28-B3E9-4F86-AF6F-8CEAE243E816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0E17B9F4-28BE-43CE-9435-FDB5F82F0A2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F04B4523-BED8-4498-B16B-AFA77CCF7853}"/>
                </a:ext>
              </a:extLst>
            </p:cNvPr>
            <p:cNvSpPr txBox="1"/>
            <p:nvPr/>
          </p:nvSpPr>
          <p:spPr>
            <a:xfrm>
              <a:off x="10978545" y="4322823"/>
              <a:ext cx="55570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158729A-6934-463E-8F96-3776F6499B86}"/>
                </a:ext>
              </a:extLst>
            </p:cNvPr>
            <p:cNvSpPr txBox="1"/>
            <p:nvPr/>
          </p:nvSpPr>
          <p:spPr>
            <a:xfrm>
              <a:off x="10978546" y="4702322"/>
              <a:ext cx="55570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E3AB8D6-812B-4BF3-BB5B-259FE5629918}"/>
                </a:ext>
              </a:extLst>
            </p:cNvPr>
            <p:cNvSpPr txBox="1"/>
            <p:nvPr/>
          </p:nvSpPr>
          <p:spPr>
            <a:xfrm>
              <a:off x="10978546" y="5081819"/>
              <a:ext cx="55570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D1CCA02-93E8-4E7E-BEE7-88A792752738}"/>
                </a:ext>
              </a:extLst>
            </p:cNvPr>
            <p:cNvSpPr txBox="1"/>
            <p:nvPr/>
          </p:nvSpPr>
          <p:spPr>
            <a:xfrm>
              <a:off x="10978546" y="5453241"/>
              <a:ext cx="55570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56771A2-7A3D-4C0C-BE25-651C76623ED4}"/>
                </a:ext>
              </a:extLst>
            </p:cNvPr>
            <p:cNvSpPr txBox="1"/>
            <p:nvPr/>
          </p:nvSpPr>
          <p:spPr>
            <a:xfrm>
              <a:off x="10978545" y="5824661"/>
              <a:ext cx="55570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>
                  <a:latin typeface="+mj-lt"/>
                </a:rPr>
                <a:t>Legend</a:t>
              </a:r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676652"/>
            <a:ext cx="7137274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51830"/>
            <a:ext cx="8311896" cy="3000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9498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950" b="0" kern="1200" spc="0" baseline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5773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15468" indent="-2125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3202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30936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codinghorror.com/the-ten-commandments-of-egoless-programming/" TargetMode="Externa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lang.llvm.org/docs/ClangFormat.html" TargetMode="External"/><Relationship Id="rId2" Type="http://schemas.openxmlformats.org/officeDocument/2006/relationships/hyperlink" Target="https://github.com/rungokarol/paro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clang.llvm.org/extra/clang-tidy/checks/list.html" TargetMode="External"/><Relationship Id="rId5" Type="http://schemas.openxmlformats.org/officeDocument/2006/relationships/hyperlink" Target="https://clang.llvm.org/extra/clang-tidy/" TargetMode="External"/><Relationship Id="rId4" Type="http://schemas.openxmlformats.org/officeDocument/2006/relationships/hyperlink" Target="https://clang.llvm.org/docs/ClangFormatStyleOptions.html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3AE4A4-F521-4B46-BB77-BDFFF6278B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862" y="3004457"/>
            <a:ext cx="6486087" cy="415574"/>
          </a:xfrm>
        </p:spPr>
        <p:txBody>
          <a:bodyPr lIns="0" tIns="0" rIns="0" bIns="0" anchor="t"/>
          <a:lstStyle/>
          <a:p>
            <a:r>
              <a:rPr lang="pl-PL" sz="1800" dirty="0">
                <a:latin typeface="Arial"/>
                <a:cs typeface="Arial"/>
              </a:rPr>
              <a:t>Author: Karol Rung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DCCFE1-D50A-4CB0-9078-0D05C71DF383}"/>
              </a:ext>
            </a:extLst>
          </p:cNvPr>
          <p:cNvSpPr/>
          <p:nvPr/>
        </p:nvSpPr>
        <p:spPr>
          <a:xfrm>
            <a:off x="249862" y="1923272"/>
            <a:ext cx="7950993" cy="58477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pl-PL" sz="3200" dirty="0">
                <a:solidFill>
                  <a:schemeClr val="bg1"/>
                </a:solidFill>
                <a:cs typeface="Calibri"/>
              </a:rPr>
              <a:t>PARO: Warsztat zwinnego programisty</a:t>
            </a:r>
            <a:endParaRPr lang="fi-FI" sz="32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5169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CED1EDD-F056-4687-BC55-2FA1684BAA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844400"/>
            <a:ext cx="8308800" cy="3096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ATD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review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Build</a:t>
            </a:r>
            <a:r>
              <a:rPr lang="pl-PL" dirty="0"/>
              <a:t> system- </a:t>
            </a:r>
            <a:r>
              <a:rPr lang="pl-PL" dirty="0" err="1"/>
              <a:t>how</a:t>
            </a:r>
            <a:r>
              <a:rPr lang="pl-PL" dirty="0"/>
              <a:t> </a:t>
            </a:r>
            <a:r>
              <a:rPr lang="pl-PL" dirty="0" err="1"/>
              <a:t>it</a:t>
            </a:r>
            <a:r>
              <a:rPr lang="pl-PL" dirty="0"/>
              <a:t> </a:t>
            </a:r>
            <a:r>
              <a:rPr lang="pl-PL" dirty="0" err="1"/>
              <a:t>works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Clang</a:t>
            </a:r>
            <a:r>
              <a:rPr lang="pl-PL" dirty="0"/>
              <a:t>-format &amp; </a:t>
            </a:r>
            <a:r>
              <a:rPr lang="pl-PL" dirty="0" err="1"/>
              <a:t>clang-tidy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5CE1E-6206-4249-92DD-0E33FAE603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  <a:p>
            <a:endParaRPr lang="pl-PL" dirty="0"/>
          </a:p>
          <a:p>
            <a:endParaRPr lang="pl-PL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B2846E-512B-4CCE-9141-47232010E01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969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8DA6A9-5831-40DC-8C03-FACB70E489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ATDD – </a:t>
            </a:r>
            <a:r>
              <a:rPr lang="pl-PL" dirty="0" err="1"/>
              <a:t>Acceptance</a:t>
            </a:r>
            <a:r>
              <a:rPr lang="pl-PL" dirty="0"/>
              <a:t> test </a:t>
            </a:r>
            <a:r>
              <a:rPr lang="pl-PL" dirty="0" err="1"/>
              <a:t>driven</a:t>
            </a:r>
            <a:r>
              <a:rPr lang="pl-PL" dirty="0"/>
              <a:t> development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58EE32-A030-4CC9-89FB-11012F6ACB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pic>
        <p:nvPicPr>
          <p:cNvPr id="57346" name="Picture 2" descr="Picture">
            <a:extLst>
              <a:ext uri="{FF2B5EF4-FFF2-40B4-BE49-F238E27FC236}">
                <a16:creationId xmlns:a16="http://schemas.microsoft.com/office/drawing/2014/main" id="{CFCF735F-4ABE-4592-960D-FCF37901E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00" y="843915"/>
            <a:ext cx="2990850" cy="272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39D218E-2D56-48B2-9346-22352B34F03E}"/>
              </a:ext>
            </a:extLst>
          </p:cNvPr>
          <p:cNvSpPr/>
          <p:nvPr/>
        </p:nvSpPr>
        <p:spPr>
          <a:xfrm>
            <a:off x="3408450" y="843915"/>
            <a:ext cx="54681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User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scenario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re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transformed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to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cceptance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tests</a:t>
            </a:r>
            <a:endParaRPr lang="pl-PL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r>
              <a:rPr lang="pl-PL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Feature</a:t>
            </a:r>
            <a:r>
              <a:rPr lang="pl-PL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is</a:t>
            </a:r>
            <a:r>
              <a:rPr lang="pl-PL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ready</a:t>
            </a:r>
            <a:r>
              <a:rPr lang="pl-PL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when</a:t>
            </a:r>
            <a:r>
              <a:rPr lang="pl-PL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the test </a:t>
            </a:r>
            <a:r>
              <a:rPr lang="pl-PL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passes</a:t>
            </a:r>
            <a:r>
              <a:rPr lang="pl-PL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 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921BD3-87B7-4DF8-B4F3-012DF7C3F8F8}"/>
              </a:ext>
            </a:extLst>
          </p:cNvPr>
          <p:cNvSpPr/>
          <p:nvPr/>
        </p:nvSpPr>
        <p:spPr>
          <a:xfrm>
            <a:off x="3729051" y="1975157"/>
            <a:ext cx="48269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As a USER, I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can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dd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book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to my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collection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 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29BDF8-89C4-4110-9A5E-651E95B30AEE}"/>
              </a:ext>
            </a:extLst>
          </p:cNvPr>
          <p:cNvSpPr/>
          <p:nvPr/>
        </p:nvSpPr>
        <p:spPr>
          <a:xfrm>
            <a:off x="3729051" y="2603178"/>
            <a:ext cx="5121915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GIVEN: User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i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logged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in</a:t>
            </a:r>
          </a:p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AND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User’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collection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i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empty</a:t>
            </a:r>
            <a:endParaRPr lang="pl-PL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AND book#1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i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valiable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in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database</a:t>
            </a:r>
            <a:endParaRPr lang="pl-PL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WHEN: User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select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the book#1</a:t>
            </a:r>
          </a:p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THEN: It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i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dded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to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hi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collection</a:t>
            </a:r>
            <a:endParaRPr lang="pl-PL" dirty="0">
              <a:solidFill>
                <a:srgbClr val="202122"/>
              </a:solidFill>
              <a:latin typeface="Arial" panose="020B0604020202020204" pitchFamily="34" charset="0"/>
            </a:endParaRPr>
          </a:p>
          <a:p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AND Collection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view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contains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newly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added</a:t>
            </a:r>
            <a:r>
              <a:rPr lang="pl-PL" dirty="0">
                <a:solidFill>
                  <a:srgbClr val="202122"/>
                </a:solidFill>
                <a:latin typeface="Arial" panose="020B0604020202020204" pitchFamily="34" charset="0"/>
              </a:rPr>
              <a:t> </a:t>
            </a:r>
            <a:r>
              <a:rPr lang="pl-PL" dirty="0" err="1">
                <a:solidFill>
                  <a:srgbClr val="202122"/>
                </a:solidFill>
                <a:latin typeface="Arial" panose="020B0604020202020204" pitchFamily="34" charset="0"/>
              </a:rPr>
              <a:t>boo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66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282AA0-87D9-4A14-B8CF-06D176D5FE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812171"/>
            <a:ext cx="8308800" cy="309600"/>
          </a:xfrm>
        </p:spPr>
        <p:txBody>
          <a:bodyPr/>
          <a:lstStyle/>
          <a:p>
            <a:r>
              <a:rPr lang="pl-PL" dirty="0" err="1"/>
              <a:t>When</a:t>
            </a:r>
            <a:r>
              <a:rPr lang="pl-PL" dirty="0"/>
              <a:t> do we do </a:t>
            </a:r>
            <a:r>
              <a:rPr lang="pl-PL" dirty="0" err="1"/>
              <a:t>it</a:t>
            </a:r>
            <a:r>
              <a:rPr lang="pl-PL" dirty="0"/>
              <a:t>?</a:t>
            </a:r>
          </a:p>
          <a:p>
            <a:r>
              <a:rPr lang="pl-PL" dirty="0" err="1"/>
              <a:t>Why</a:t>
            </a:r>
            <a:r>
              <a:rPr lang="pl-PL" dirty="0"/>
              <a:t> do we </a:t>
            </a:r>
            <a:r>
              <a:rPr lang="pl-PL" dirty="0" err="1"/>
              <a:t>even</a:t>
            </a:r>
            <a:r>
              <a:rPr lang="pl-PL" dirty="0"/>
              <a:t> do </a:t>
            </a:r>
            <a:r>
              <a:rPr lang="pl-PL" dirty="0" err="1"/>
              <a:t>it</a:t>
            </a:r>
            <a:r>
              <a:rPr lang="pl-PL" dirty="0"/>
              <a:t>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261568-CD17-467B-96D1-28D3C73699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280800"/>
            <a:ext cx="8308800" cy="309600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review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1EA143-EC36-4701-B833-FF102417D8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4286" y="1583100"/>
            <a:ext cx="5562286" cy="3560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BOUT YOU, IT IS ABOUT THE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tain architecture of the system</a:t>
            </a:r>
            <a:r>
              <a:rPr lang="pl-PL" dirty="0"/>
              <a:t> and </a:t>
            </a:r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readibility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err="1"/>
              <a:t>different</a:t>
            </a:r>
            <a:r>
              <a:rPr lang="pl-PL" dirty="0"/>
              <a:t> point of </a:t>
            </a:r>
            <a:r>
              <a:rPr lang="pl-PL" dirty="0" err="1"/>
              <a:t>view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err="1"/>
              <a:t>get</a:t>
            </a:r>
            <a:r>
              <a:rPr lang="pl-PL" dirty="0"/>
              <a:t> to </a:t>
            </a:r>
            <a:r>
              <a:rPr lang="pl-PL" dirty="0" err="1"/>
              <a:t>know</a:t>
            </a:r>
            <a:r>
              <a:rPr lang="pl-PL" dirty="0"/>
              <a:t> with </a:t>
            </a:r>
            <a:r>
              <a:rPr lang="pl-PL" dirty="0" err="1"/>
              <a:t>each</a:t>
            </a:r>
            <a:r>
              <a:rPr lang="pl-PL" dirty="0"/>
              <a:t> </a:t>
            </a:r>
            <a:r>
              <a:rPr lang="pl-PL" dirty="0" err="1"/>
              <a:t>other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err="1"/>
              <a:t>knowledge</a:t>
            </a:r>
            <a:r>
              <a:rPr lang="pl-PL" dirty="0"/>
              <a:t> </a:t>
            </a:r>
            <a:r>
              <a:rPr lang="pl-PL" dirty="0" err="1"/>
              <a:t>spread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Bugs </a:t>
            </a:r>
            <a:r>
              <a:rPr lang="pl-PL" dirty="0" err="1"/>
              <a:t>are</a:t>
            </a:r>
            <a:r>
              <a:rPr lang="pl-PL" dirty="0"/>
              <a:t> </a:t>
            </a:r>
            <a:r>
              <a:rPr lang="pl-PL" dirty="0" err="1"/>
              <a:t>everywhere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performance </a:t>
            </a:r>
            <a:r>
              <a:rPr lang="pl-PL" dirty="0" err="1"/>
              <a:t>issues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err="1"/>
              <a:t>Soft</a:t>
            </a:r>
            <a:r>
              <a:rPr lang="pl-PL" dirty="0"/>
              <a:t> </a:t>
            </a:r>
            <a:r>
              <a:rPr lang="pl-PL" dirty="0" err="1"/>
              <a:t>skill</a:t>
            </a:r>
            <a:r>
              <a:rPr lang="pl-PL" dirty="0"/>
              <a:t> </a:t>
            </a:r>
            <a:r>
              <a:rPr lang="pl-PL" dirty="0" err="1"/>
              <a:t>training</a:t>
            </a:r>
            <a:r>
              <a:rPr lang="pl-PL" dirty="0"/>
              <a:t>, </a:t>
            </a:r>
            <a:r>
              <a:rPr lang="pl-PL" dirty="0" err="1"/>
              <a:t>cope</a:t>
            </a:r>
            <a:r>
              <a:rPr lang="pl-PL" dirty="0"/>
              <a:t> with </a:t>
            </a:r>
            <a:r>
              <a:rPr lang="pl-PL" dirty="0" err="1"/>
              <a:t>criticism</a:t>
            </a:r>
            <a:endParaRPr lang="pl-PL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A873F4-C277-4E3B-B11E-22E5F7B47D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B7A73EBF-6BE3-4A98-8D6D-94953C7604DE}"/>
              </a:ext>
            </a:extLst>
          </p:cNvPr>
          <p:cNvSpPr txBox="1">
            <a:spLocks/>
          </p:cNvSpPr>
          <p:nvPr/>
        </p:nvSpPr>
        <p:spPr>
          <a:xfrm>
            <a:off x="425486" y="3969028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/>
              <a:t>What</a:t>
            </a:r>
            <a:r>
              <a:rPr lang="pl-PL" dirty="0"/>
              <a:t> do we </a:t>
            </a:r>
            <a:r>
              <a:rPr lang="pl-PL" dirty="0" err="1"/>
              <a:t>check</a:t>
            </a:r>
            <a:r>
              <a:rPr lang="pl-PL" dirty="0"/>
              <a:t>?</a:t>
            </a:r>
          </a:p>
          <a:p>
            <a:r>
              <a:rPr lang="pl-PL" dirty="0" err="1"/>
              <a:t>Who</a:t>
            </a:r>
            <a:r>
              <a:rPr lang="pl-PL" dirty="0"/>
              <a:t> </a:t>
            </a:r>
            <a:r>
              <a:rPr lang="pl-PL" dirty="0" err="1"/>
              <a:t>checks</a:t>
            </a:r>
            <a:r>
              <a:rPr lang="pl-PL" dirty="0"/>
              <a:t> the </a:t>
            </a:r>
            <a:r>
              <a:rPr lang="pl-PL" dirty="0" err="1"/>
              <a:t>code</a:t>
            </a:r>
            <a:r>
              <a:rPr lang="pl-PL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16830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D46CC9-5A94-465F-92CD-D5FB02A0D2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829885"/>
            <a:ext cx="8308800" cy="3096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Needle</a:t>
            </a:r>
            <a:r>
              <a:rPr lang="pl-PL" dirty="0"/>
              <a:t> in the </a:t>
            </a:r>
            <a:r>
              <a:rPr lang="pl-PL" dirty="0" err="1"/>
              <a:t>haystack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Divide</a:t>
            </a:r>
            <a:r>
              <a:rPr lang="pl-PL" dirty="0"/>
              <a:t> </a:t>
            </a:r>
            <a:r>
              <a:rPr lang="pl-PL" dirty="0" err="1"/>
              <a:t>your</a:t>
            </a:r>
            <a:r>
              <a:rPr lang="pl-PL" dirty="0"/>
              <a:t> </a:t>
            </a:r>
            <a:r>
              <a:rPr lang="pl-PL" dirty="0" err="1"/>
              <a:t>commits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How </a:t>
            </a:r>
            <a:r>
              <a:rPr lang="pl-PL" dirty="0" err="1"/>
              <a:t>many</a:t>
            </a:r>
            <a:r>
              <a:rPr lang="pl-PL" dirty="0"/>
              <a:t> </a:t>
            </a:r>
            <a:r>
              <a:rPr lang="pl-PL" dirty="0" err="1"/>
              <a:t>files</a:t>
            </a:r>
            <a:r>
              <a:rPr lang="pl-PL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Tests</a:t>
            </a:r>
            <a:r>
              <a:rPr lang="pl-PL" dirty="0"/>
              <a:t> </a:t>
            </a:r>
            <a:r>
              <a:rPr lang="pl-PL" dirty="0" err="1"/>
              <a:t>tests</a:t>
            </a:r>
            <a:r>
              <a:rPr lang="pl-PL" dirty="0"/>
              <a:t> </a:t>
            </a:r>
            <a:r>
              <a:rPr lang="pl-PL" dirty="0" err="1"/>
              <a:t>tests</a:t>
            </a:r>
            <a:r>
              <a:rPr lang="pl-PL" dirty="0"/>
              <a:t>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Cultural</a:t>
            </a:r>
            <a:r>
              <a:rPr lang="pl-PL" dirty="0"/>
              <a:t> </a:t>
            </a:r>
            <a:r>
              <a:rPr lang="pl-PL" dirty="0" err="1"/>
              <a:t>differenc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5ECA7F-165F-4934-8662-46AA213921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review</a:t>
            </a:r>
            <a:r>
              <a:rPr lang="pl-PL" dirty="0"/>
              <a:t>- </a:t>
            </a:r>
            <a:r>
              <a:rPr lang="pl-PL" dirty="0" err="1"/>
              <a:t>what</a:t>
            </a:r>
            <a:r>
              <a:rPr lang="pl-PL" dirty="0"/>
              <a:t> to </a:t>
            </a:r>
            <a:r>
              <a:rPr lang="pl-PL" dirty="0" err="1"/>
              <a:t>look</a:t>
            </a:r>
            <a:r>
              <a:rPr lang="pl-PL" dirty="0"/>
              <a:t> for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240769-7306-4B06-88ED-EB08EE81B16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&lt;Document ID: change ID in footer or remov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331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0DB7E0-4421-4FDD-B2D5-260F2F8535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600" y="779086"/>
            <a:ext cx="8308800" cy="3096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feeding</a:t>
            </a:r>
            <a:r>
              <a:rPr lang="pl-PL" dirty="0"/>
              <a:t> me eg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rat r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metrics</a:t>
            </a:r>
            <a:r>
              <a:rPr lang="pl-PL" dirty="0"/>
              <a:t> </a:t>
            </a:r>
            <a:r>
              <a:rPr lang="pl-PL" dirty="0" err="1"/>
              <a:t>are</a:t>
            </a:r>
            <a:r>
              <a:rPr lang="pl-PL" dirty="0"/>
              <a:t> </a:t>
            </a:r>
            <a:r>
              <a:rPr lang="pl-PL" dirty="0" err="1"/>
              <a:t>bad</a:t>
            </a:r>
            <a:r>
              <a:rPr lang="pl-PL" dirty="0"/>
              <a:t> (</a:t>
            </a:r>
            <a:r>
              <a:rPr lang="pl-PL" dirty="0" err="1"/>
              <a:t>seriosuly</a:t>
            </a:r>
            <a:r>
              <a:rPr lang="pl-PL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fast and </a:t>
            </a:r>
            <a:r>
              <a:rPr lang="pl-PL" dirty="0" err="1"/>
              <a:t>furious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design </a:t>
            </a:r>
            <a:r>
              <a:rPr lang="pl-PL" dirty="0" err="1"/>
              <a:t>patterns</a:t>
            </a:r>
            <a:r>
              <a:rPr lang="pl-PL" dirty="0"/>
              <a:t> </a:t>
            </a:r>
            <a:r>
              <a:rPr lang="pl-PL" dirty="0" err="1"/>
              <a:t>hell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lack</a:t>
            </a:r>
            <a:r>
              <a:rPr lang="pl-PL" dirty="0"/>
              <a:t> of trust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AF2C0B-2C0C-4815-8955-F0CCC341F0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</a:t>
            </a:r>
            <a:r>
              <a:rPr lang="pl-PL" dirty="0" err="1"/>
              <a:t>review</a:t>
            </a:r>
            <a:r>
              <a:rPr lang="pl-PL" dirty="0"/>
              <a:t>- </a:t>
            </a:r>
            <a:r>
              <a:rPr lang="pl-PL" dirty="0" err="1"/>
              <a:t>what</a:t>
            </a:r>
            <a:r>
              <a:rPr lang="pl-PL" dirty="0"/>
              <a:t> </a:t>
            </a:r>
            <a:r>
              <a:rPr lang="pl-PL" dirty="0" err="1"/>
              <a:t>makes</a:t>
            </a:r>
            <a:r>
              <a:rPr lang="pl-PL" dirty="0"/>
              <a:t> </a:t>
            </a:r>
            <a:r>
              <a:rPr lang="pl-PL" dirty="0" err="1"/>
              <a:t>it</a:t>
            </a:r>
            <a:r>
              <a:rPr lang="pl-PL" dirty="0"/>
              <a:t> </a:t>
            </a:r>
            <a:r>
              <a:rPr lang="pl-PL" dirty="0" err="1"/>
              <a:t>bad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019C18-3EF3-488E-88BE-634AE0A6810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068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7CE34A-EFCC-42DE-887E-4E8A85E231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The Ten Commandments of Egoless Programming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C9FA65-580E-468B-B637-7BEE20BE6D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Understand and accept that you will make mistakes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 are not your code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o matter how much "karate" you know, someone else will always know more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on't rewrite code without consultation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reat people who know less than you with respect, deference, and patience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only constant in the world is change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only true authority stems from knowledge, not from position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ght for what you believe, but gracefully accept defeat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on't be "the guy in the room</a:t>
            </a:r>
            <a:r>
              <a:rPr lang="pl-PL" dirty="0"/>
              <a:t>”</a:t>
            </a:r>
            <a:r>
              <a:rPr lang="en-US" dirty="0"/>
              <a:t>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itique code instead of people – be kind to the coder, not to the code.</a:t>
            </a:r>
            <a:endParaRPr lang="pl-PL" dirty="0"/>
          </a:p>
          <a:p>
            <a:pPr marL="342900" indent="-342900">
              <a:buFont typeface="+mj-lt"/>
              <a:buAutoNum type="arabicPeriod"/>
            </a:pPr>
            <a:endParaRPr lang="pl-PL" dirty="0"/>
          </a:p>
          <a:p>
            <a:r>
              <a:rPr lang="pl-PL" dirty="0">
                <a:hlinkClick r:id="rId2"/>
              </a:rPr>
              <a:t>https://blog.codinghorror.com/the-ten-commandments-of-egoless-programming/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83F4BD-1295-492A-81C1-0D69FBCF209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334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A07BF8-FB55-4E15-A0AC-D03EEF2110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lang-Tidy</a:t>
            </a:r>
            <a:r>
              <a:rPr lang="pl-PL" dirty="0"/>
              <a:t> and </a:t>
            </a:r>
            <a:r>
              <a:rPr lang="pl-PL" dirty="0" err="1"/>
              <a:t>Clang</a:t>
            </a:r>
            <a:r>
              <a:rPr lang="pl-PL" dirty="0"/>
              <a:t>-Format- live </a:t>
            </a:r>
            <a:r>
              <a:rPr lang="pl-PL" dirty="0" err="1"/>
              <a:t>example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5E2A45-7100-4C35-A71F-17AA804B4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&lt;Document ID: change ID in footer or remove&gt;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136F7E-C9BB-46A7-B41E-C28A330C7ECC}"/>
              </a:ext>
            </a:extLst>
          </p:cNvPr>
          <p:cNvSpPr/>
          <p:nvPr/>
        </p:nvSpPr>
        <p:spPr>
          <a:xfrm>
            <a:off x="204890" y="1045964"/>
            <a:ext cx="5707396" cy="20313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hlinkClick r:id="rId2"/>
              </a:rPr>
              <a:t>https://github.com/rungokarol/paro</a:t>
            </a:r>
            <a:endParaRPr lang="pl-PL" dirty="0">
              <a:hlinkClick r:id="rId3"/>
            </a:endParaRPr>
          </a:p>
          <a:p>
            <a:endParaRPr lang="pl-PL" dirty="0">
              <a:hlinkClick r:id="rId3"/>
            </a:endParaRPr>
          </a:p>
          <a:p>
            <a:r>
              <a:rPr lang="pl-PL" dirty="0">
                <a:hlinkClick r:id="rId3"/>
              </a:rPr>
              <a:t>https://clang.llvm.org/docs/ClangFormat.html</a:t>
            </a:r>
            <a:endParaRPr lang="pl-PL" dirty="0"/>
          </a:p>
          <a:p>
            <a:r>
              <a:rPr lang="pl-PL" dirty="0">
                <a:hlinkClick r:id="rId4"/>
              </a:rPr>
              <a:t>https://clang.llvm.org/docs/ClangFormatStyleOptions.html</a:t>
            </a:r>
            <a:endParaRPr lang="pl-PL" dirty="0"/>
          </a:p>
          <a:p>
            <a:endParaRPr lang="pl-PL" dirty="0"/>
          </a:p>
          <a:p>
            <a:r>
              <a:rPr lang="pl-PL" dirty="0">
                <a:hlinkClick r:id="rId5"/>
              </a:rPr>
              <a:t>https://clang.llvm.org/extra/clang-tidy/</a:t>
            </a:r>
            <a:endParaRPr lang="pl-PL" dirty="0"/>
          </a:p>
          <a:p>
            <a:r>
              <a:rPr lang="pl-PL" dirty="0">
                <a:hlinkClick r:id="rId6"/>
              </a:rPr>
              <a:t>https://clang.llvm.org/extra/clang-tidy/checks/list.ht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379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999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go5FpSE6h1QU_rQfIW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RHa_WOH6CP3xvEtlk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56Kozyk8sydJ3_TC3K7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Oqw8Mg4Fqng2eypmy85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2QR3cX8Iy8bfxgfzvU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.k_qGvqE8FAVblowgr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uAwsTgjdpbnVhdbRD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titG8V2Tp.r0FmlZJs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ka5vKuE0hXKQzxU.D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YNMy94ZS9lQEpy4UWf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muw691gpbg_qKy2fZ4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B5dhGgT_1zaUWhOwNy7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j4WqPyxO7jYxcYf_yZxg"/>
</p:tagLst>
</file>

<file path=ppt/theme/theme1.xml><?xml version="1.0" encoding="utf-8"?>
<a:theme xmlns:a="http://schemas.openxmlformats.org/drawingml/2006/main" name="2_Whit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ial PowerPoint.potx" id="{DBD296B6-EF90-4BD8-AC12-E746D37AD935}" vid="{D787E8FF-0555-49AE-B039-9746F3CAB57B}"/>
    </a:ext>
  </a:extLst>
</a:theme>
</file>

<file path=ppt/theme/theme2.xml><?xml version="1.0" encoding="utf-8"?>
<a:theme xmlns:a="http://schemas.openxmlformats.org/drawingml/2006/main" name="3_Blu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ial PowerPoint.potx" id="{DBD296B6-EF90-4BD8-AC12-E746D37AD935}" vid="{7160B6C6-ED63-4DB2-92B7-B41830921548}"/>
    </a:ext>
  </a:extLst>
</a:theme>
</file>

<file path=ppt/theme/theme3.xml><?xml version="1.0" encoding="utf-8"?>
<a:theme xmlns:a="http://schemas.openxmlformats.org/drawingml/2006/main" name="4_Blu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ial PowerPoint.potx" id="{DBD296B6-EF90-4BD8-AC12-E746D37AD935}" vid="{B45F6CCC-CB55-4EEC-B373-F4FA1D4DE23F}"/>
    </a:ext>
  </a:extLst>
</a:theme>
</file>

<file path=ppt/theme/theme4.xml><?xml version="1.0" encoding="utf-8"?>
<a:theme xmlns:a="http://schemas.openxmlformats.org/drawingml/2006/main" name="5_Whit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ial PowerPoint.potx" id="{DBD296B6-EF90-4BD8-AC12-E746D37AD935}" vid="{6A6A5E3E-52F8-4116-846E-81CE16DAA1E1}"/>
    </a:ext>
  </a:extLst>
</a:theme>
</file>

<file path=ppt/theme/theme5.xml><?xml version="1.0" encoding="utf-8"?>
<a:theme xmlns:a="http://schemas.openxmlformats.org/drawingml/2006/main" name="6_Gray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C 2018 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ial PowerPoint.potx" id="{DBD296B6-EF90-4BD8-AC12-E746D37AD935}" vid="{CD79F2EB-AD08-4976-9C58-20A6CFDD0D57}"/>
    </a:ext>
  </a:extLst>
</a:theme>
</file>

<file path=ppt/theme/theme6.xml><?xml version="1.0" encoding="utf-8"?>
<a:theme xmlns:a="http://schemas.openxmlformats.org/drawingml/2006/main" name="White">
  <a:themeElements>
    <a:clrScheme name="Scheme1">
      <a:dk1>
        <a:srgbClr val="001135"/>
      </a:dk1>
      <a:lt1>
        <a:srgbClr val="FFFFFF"/>
      </a:lt1>
      <a:dk2>
        <a:srgbClr val="98A2AE"/>
      </a:dk2>
      <a:lt2>
        <a:srgbClr val="4D5766"/>
      </a:lt2>
      <a:accent1>
        <a:srgbClr val="124191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000FF"/>
      </a:hlink>
      <a:folHlink>
        <a:srgbClr val="800080"/>
      </a:folHlink>
    </a:clrScheme>
    <a:fontScheme name="Custom 10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1135"/>
        </a:dk1>
        <a:lt1>
          <a:srgbClr val="FFFFFF"/>
        </a:lt1>
        <a:dk2>
          <a:srgbClr val="98A2AE"/>
        </a:dk2>
        <a:lt2>
          <a:srgbClr val="4D5766"/>
        </a:lt2>
        <a:accent1>
          <a:srgbClr val="124191"/>
        </a:accent1>
        <a:accent2>
          <a:srgbClr val="BEC8D2"/>
        </a:accent2>
        <a:accent3>
          <a:srgbClr val="00C9FF"/>
        </a:accent3>
        <a:accent4>
          <a:srgbClr val="FF3154"/>
        </a:accent4>
        <a:accent5>
          <a:srgbClr val="FFFB00"/>
        </a:accent5>
        <a:accent6>
          <a:srgbClr val="4BDD3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N_HL0391_16x9_OF.potx" id="{404C6397-A12F-4ED8-B7A4-80B5369857A8}" vid="{4BEE1D5C-C157-4CB7-84DE-976CE215F82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1c5aaf6-e6ce-465b-b873-5148d2a4c105">Q2ILPM4INMSQ-200061897-229</_dlc_DocId>
    <_dlc_DocIdUrl xmlns="71c5aaf6-e6ce-465b-b873-5148d2a4c105">
      <Url>https://nokia.sharepoint.com/sites/UniformState-of-the-arttools/_layouts/15/DocIdRedir.aspx?ID=Q2ILPM4INMSQ-200061897-229</Url>
      <Description>Q2ILPM4INMSQ-200061897-229</Description>
    </_dlc_DocIdUrl>
    <HideFromDelve xmlns="71c5aaf6-e6ce-465b-b873-5148d2a4c105">false</HideFromDelv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D9540DB1E98D4B9272D071620A3254" ma:contentTypeVersion="7" ma:contentTypeDescription="Create a new document." ma:contentTypeScope="" ma:versionID="0cddbd0f4add7017fbb7603f5fbb9226">
  <xsd:schema xmlns:xsd="http://www.w3.org/2001/XMLSchema" xmlns:xs="http://www.w3.org/2001/XMLSchema" xmlns:p="http://schemas.microsoft.com/office/2006/metadata/properties" xmlns:ns2="71c5aaf6-e6ce-465b-b873-5148d2a4c105" xmlns:ns3="11850c74-a144-45a9-96a2-699b0b2ff282" xmlns:ns4="ac5a34c2-da57-43c4-b7b8-569f1dfe017e" targetNamespace="http://schemas.microsoft.com/office/2006/metadata/properties" ma:root="true" ma:fieldsID="f2ec6726e3e7e2bff23204fa46924752" ns2:_="" ns3:_="" ns4:_="">
    <xsd:import namespace="71c5aaf6-e6ce-465b-b873-5148d2a4c105"/>
    <xsd:import namespace="11850c74-a144-45a9-96a2-699b0b2ff282"/>
    <xsd:import namespace="ac5a34c2-da57-43c4-b7b8-569f1dfe017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  <xsd:element ref="ns3:MediaServiceFastMetadata" minOccurs="0"/>
                <xsd:element ref="ns3:MediaServiceMetadata" minOccurs="0"/>
                <xsd:element ref="ns4:SharedWithUsers" minOccurs="0"/>
                <xsd:element ref="ns4:SharedWithDetail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1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850c74-a144-45a9-96a2-699b0b2ff282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5a34c2-da57-43c4-b7b8-569f1dfe017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34c87397-5fc1-491e-85e7-d6110dbe9cbd" ContentTypeId="0x0101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4E0DC19E-1402-4240-8442-8D08ABC066EA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71c5aaf6-e6ce-465b-b873-5148d2a4c105"/>
    <ds:schemaRef ds:uri="ac5a34c2-da57-43c4-b7b8-569f1dfe017e"/>
    <ds:schemaRef ds:uri="http://schemas.microsoft.com/office/infopath/2007/PartnerControls"/>
    <ds:schemaRef ds:uri="11850c74-a144-45a9-96a2-699b0b2ff28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5D7E49-2DA4-4907-9271-50D123D198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2E2484-E333-4ADB-A03B-9838BC3368A0}">
  <ds:schemaRefs>
    <ds:schemaRef ds:uri="11850c74-a144-45a9-96a2-699b0b2ff282"/>
    <ds:schemaRef ds:uri="71c5aaf6-e6ce-465b-b873-5148d2a4c105"/>
    <ds:schemaRef ds:uri="ac5a34c2-da57-43c4-b7b8-569f1dfe017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047849A5-FADE-4990-ADEB-85579A9A2046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351D02F7-9762-43BF-BE6B-A03357C73913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rial PowerPoint</Template>
  <TotalTime>1232</TotalTime>
  <Words>484</Words>
  <Application>Microsoft Office PowerPoint</Application>
  <PresentationFormat>On-screen Show (16:9)</PresentationFormat>
  <Paragraphs>7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3" baseType="lpstr">
      <vt:lpstr>Arial</vt:lpstr>
      <vt:lpstr>Calibri</vt:lpstr>
      <vt:lpstr>Calibri Light</vt:lpstr>
      <vt:lpstr>Nokia Pure Headline Light</vt:lpstr>
      <vt:lpstr>Nokia Pure Text</vt:lpstr>
      <vt:lpstr>Nokia Pure Text Light</vt:lpstr>
      <vt:lpstr>Segoe UI</vt:lpstr>
      <vt:lpstr>2_White</vt:lpstr>
      <vt:lpstr>3_Blue</vt:lpstr>
      <vt:lpstr>4_Blue End Slide</vt:lpstr>
      <vt:lpstr>5_White End Slide</vt:lpstr>
      <vt:lpstr>6_Gray</vt:lpstr>
      <vt:lpstr>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dbala-Rutecka, Agnieszka (Nokia - PL/Wroclaw)</dc:creator>
  <cp:lastModifiedBy>Rungo, Karol (Nokia - PL/Wroclaw)</cp:lastModifiedBy>
  <cp:revision>87</cp:revision>
  <dcterms:created xsi:type="dcterms:W3CDTF">2019-10-07T15:51:11Z</dcterms:created>
  <dcterms:modified xsi:type="dcterms:W3CDTF">2020-05-24T22:5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D9540DB1E98D4B9272D071620A3254</vt:lpwstr>
  </property>
  <property fmtid="{D5CDD505-2E9C-101B-9397-08002B2CF9AE}" pid="3" name="_dlc_DocIdItemGuid">
    <vt:lpwstr>e6783525-2a9a-47e0-9dc4-9fe110d581e7</vt:lpwstr>
  </property>
</Properties>
</file>